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4"/>
  </p:notesMasterIdLst>
  <p:handoutMasterIdLst>
    <p:handoutMasterId r:id="rId45"/>
  </p:handoutMasterIdLst>
  <p:sldIdLst>
    <p:sldId id="321" r:id="rId5"/>
    <p:sldId id="2145705986" r:id="rId6"/>
    <p:sldId id="304" r:id="rId7"/>
    <p:sldId id="2145705826" r:id="rId8"/>
    <p:sldId id="2145706051" r:id="rId9"/>
    <p:sldId id="2145706052" r:id="rId10"/>
    <p:sldId id="2145706053" r:id="rId11"/>
    <p:sldId id="2145706110" r:id="rId12"/>
    <p:sldId id="2145706054" r:id="rId13"/>
    <p:sldId id="2145706132" r:id="rId14"/>
    <p:sldId id="2145706135" r:id="rId15"/>
    <p:sldId id="2145706133" r:id="rId16"/>
    <p:sldId id="2145706055" r:id="rId17"/>
    <p:sldId id="2145706059" r:id="rId18"/>
    <p:sldId id="2145706070" r:id="rId19"/>
    <p:sldId id="2145706064" r:id="rId20"/>
    <p:sldId id="2145706088" r:id="rId21"/>
    <p:sldId id="2145706118" r:id="rId22"/>
    <p:sldId id="2145706119" r:id="rId23"/>
    <p:sldId id="2145706125" r:id="rId24"/>
    <p:sldId id="2145706063" r:id="rId25"/>
    <p:sldId id="2145706089" r:id="rId26"/>
    <p:sldId id="2145706126" r:id="rId27"/>
    <p:sldId id="2145706112" r:id="rId28"/>
    <p:sldId id="2145706127" r:id="rId29"/>
    <p:sldId id="2145706071" r:id="rId30"/>
    <p:sldId id="2145706074" r:id="rId31"/>
    <p:sldId id="2145706075" r:id="rId32"/>
    <p:sldId id="2145706084" r:id="rId33"/>
    <p:sldId id="2145706081" r:id="rId34"/>
    <p:sldId id="2145706083" r:id="rId35"/>
    <p:sldId id="2145706078" r:id="rId36"/>
    <p:sldId id="2145706079" r:id="rId37"/>
    <p:sldId id="2145706128" r:id="rId38"/>
    <p:sldId id="2145706087" r:id="rId39"/>
    <p:sldId id="2145706129" r:id="rId40"/>
    <p:sldId id="2145706130" r:id="rId41"/>
    <p:sldId id="2145706131" r:id="rId42"/>
    <p:sldId id="2145705823" r:id="rId43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7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0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0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" r="50" b="37002"/>
          <a:stretch/>
        </p:blipFill>
        <p:spPr>
          <a:xfrm>
            <a:off x="2617723" y="1098001"/>
            <a:ext cx="7610476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47EDA7-2749-D652-C565-983C47BC38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" t="37052" r="-108"/>
          <a:stretch/>
        </p:blipFill>
        <p:spPr>
          <a:xfrm>
            <a:off x="2617723" y="1098000"/>
            <a:ext cx="7616456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25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9353" y="783000"/>
            <a:ext cx="5056647" cy="6075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97329" y="783000"/>
            <a:ext cx="5336635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Workspac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Workspac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anage channe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06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03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Mentor 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9452" y="783000"/>
            <a:ext cx="7453095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2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Give feedback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37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anage Ticket</a:t>
            </a:r>
            <a:br>
              <a:rPr lang="en-GB" dirty="0"/>
            </a:br>
            <a:endParaRPr lang="en-GB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1812" y="1422642"/>
            <a:ext cx="9368376" cy="479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63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1812" y="899461"/>
            <a:ext cx="9368376" cy="584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13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 &amp;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70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 &amp;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90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9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s</a:t>
            </a:r>
          </a:p>
          <a:p>
            <a:r>
              <a:rPr lang="en-GB" dirty="0"/>
              <a:t>Database Designs</a:t>
            </a:r>
          </a:p>
          <a:p>
            <a:r>
              <a:rPr lang="en-GB" dirty="0"/>
              <a:t>Referenc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3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0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1830" y="783000"/>
            <a:ext cx="8788339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48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1830" y="904743"/>
            <a:ext cx="8788339" cy="583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44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- Overview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5021" y="904743"/>
            <a:ext cx="4881957" cy="583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6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- Overview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5021" y="1036360"/>
            <a:ext cx="4881957" cy="5568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44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EB4151-5ABE-4E87-A035-4EDEEA285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841" y="787274"/>
            <a:ext cx="9346318" cy="5894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-665325"/>
            <a:ext cx="3920490" cy="81886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 – Hig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2040001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0355" y="0"/>
            <a:ext cx="6510095" cy="755130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 – Hig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2040001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4538580" y="1098000"/>
            <a:ext cx="7653419" cy="573959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 – Hig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2040001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680405e6-b67e-4188-afe9-1f6c4cc802d0"/>
    <ds:schemaRef ds:uri="5a0a5fd8-e554-4dec-ae9e-1a78583e7e41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922</TotalTime>
  <Words>191</Words>
  <Application>Microsoft Office PowerPoint</Application>
  <PresentationFormat>Widescreen</PresentationFormat>
  <Paragraphs>61</Paragraphs>
  <Slides>3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Arial</vt:lpstr>
      <vt:lpstr>Calibri</vt:lpstr>
      <vt:lpstr>bbv template EN</vt:lpstr>
      <vt:lpstr>think-cell Slide</vt:lpstr>
      <vt:lpstr>PowerPoint Presentation</vt:lpstr>
      <vt:lpstr>Project Mentor Hub Communication Subsystem</vt:lpstr>
      <vt:lpstr>Agenda</vt:lpstr>
      <vt:lpstr>Overview – Mentor Hub</vt:lpstr>
      <vt:lpstr>Overview – Communication Subsystem</vt:lpstr>
      <vt:lpstr>Overview – Communication Subsystem</vt:lpstr>
      <vt:lpstr>Use Case Diagram – High Level</vt:lpstr>
      <vt:lpstr>Use Case Diagram – High Level</vt:lpstr>
      <vt:lpstr>Use Case Diagram – High Level</vt:lpstr>
      <vt:lpstr>UI Design – Dashboard</vt:lpstr>
      <vt:lpstr>UI Design – Dashboard</vt:lpstr>
      <vt:lpstr>UI Design – Dashboard</vt:lpstr>
      <vt:lpstr>UI Design – Workspace</vt:lpstr>
      <vt:lpstr>UI Design – Workspace</vt:lpstr>
      <vt:lpstr>UI Design – Direct Messages</vt:lpstr>
      <vt:lpstr>UI Design – Manage channel</vt:lpstr>
      <vt:lpstr>UI Design – Files</vt:lpstr>
      <vt:lpstr>UI Design – Files</vt:lpstr>
      <vt:lpstr>UI Design – Files</vt:lpstr>
      <vt:lpstr>Database Design </vt:lpstr>
      <vt:lpstr>UI Design – Give feedback</vt:lpstr>
      <vt:lpstr>UI Design – Manage Ticket </vt:lpstr>
      <vt:lpstr>Database Design </vt:lpstr>
      <vt:lpstr>UI Design – Preferences</vt:lpstr>
      <vt:lpstr>Database Design </vt:lpstr>
      <vt:lpstr>UI Design – Video Call &amp; Meeting</vt:lpstr>
      <vt:lpstr>UI Design – Video Call &amp; Meeting</vt:lpstr>
      <vt:lpstr>UI Design – Calendar</vt:lpstr>
      <vt:lpstr>UI Design – Calendar</vt:lpstr>
      <vt:lpstr>UI Design – Calendar</vt:lpstr>
      <vt:lpstr>UI Design – Calendar</vt:lpstr>
      <vt:lpstr>UI Design – Calendar</vt:lpstr>
      <vt:lpstr>UI Design – Calendar</vt:lpstr>
      <vt:lpstr>Database Design </vt:lpstr>
      <vt:lpstr>UI Design – Activity </vt:lpstr>
      <vt:lpstr>Database Design </vt:lpstr>
      <vt:lpstr>Database Design - Overview</vt:lpstr>
      <vt:lpstr>Database Design - Overview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21</cp:revision>
  <dcterms:created xsi:type="dcterms:W3CDTF">2023-03-02T06:20:39Z</dcterms:created>
  <dcterms:modified xsi:type="dcterms:W3CDTF">2024-06-10T13:0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